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74" r:id="rId6"/>
    <p:sldMasterId id="2147483883" r:id="rId7"/>
  </p:sldMasterIdLst>
  <p:notesMasterIdLst>
    <p:notesMasterId r:id="rId67"/>
  </p:notesMasterIdLst>
  <p:sldIdLst>
    <p:sldId id="256" r:id="rId8"/>
    <p:sldId id="257" r:id="rId9"/>
    <p:sldId id="266" r:id="rId10"/>
    <p:sldId id="260" r:id="rId11"/>
    <p:sldId id="263" r:id="rId12"/>
    <p:sldId id="10954" r:id="rId13"/>
    <p:sldId id="11123" r:id="rId14"/>
    <p:sldId id="11124" r:id="rId15"/>
    <p:sldId id="262" r:id="rId16"/>
    <p:sldId id="11070" r:id="rId17"/>
    <p:sldId id="11125" r:id="rId18"/>
    <p:sldId id="11130" r:id="rId19"/>
    <p:sldId id="11131" r:id="rId20"/>
    <p:sldId id="1792" r:id="rId21"/>
    <p:sldId id="506" r:id="rId22"/>
    <p:sldId id="1041" r:id="rId23"/>
    <p:sldId id="11113" r:id="rId24"/>
    <p:sldId id="779" r:id="rId25"/>
    <p:sldId id="11119" r:id="rId26"/>
    <p:sldId id="11117" r:id="rId27"/>
    <p:sldId id="11146" r:id="rId28"/>
    <p:sldId id="10872" r:id="rId29"/>
    <p:sldId id="10789" r:id="rId30"/>
    <p:sldId id="11020" r:id="rId31"/>
    <p:sldId id="787" r:id="rId32"/>
    <p:sldId id="11127" r:id="rId33"/>
    <p:sldId id="10910" r:id="rId34"/>
    <p:sldId id="11128" r:id="rId35"/>
    <p:sldId id="11129" r:id="rId36"/>
    <p:sldId id="264" r:id="rId37"/>
    <p:sldId id="366" r:id="rId38"/>
    <p:sldId id="1728" r:id="rId39"/>
    <p:sldId id="270" r:id="rId40"/>
    <p:sldId id="1038" r:id="rId41"/>
    <p:sldId id="10859" r:id="rId42"/>
    <p:sldId id="11002" r:id="rId43"/>
    <p:sldId id="868" r:id="rId44"/>
    <p:sldId id="11026" r:id="rId45"/>
    <p:sldId id="5715" r:id="rId46"/>
    <p:sldId id="5721" r:id="rId47"/>
    <p:sldId id="5713" r:id="rId48"/>
    <p:sldId id="5725" r:id="rId49"/>
    <p:sldId id="5727" r:id="rId50"/>
    <p:sldId id="5728" r:id="rId51"/>
    <p:sldId id="5726" r:id="rId52"/>
    <p:sldId id="10983" r:id="rId53"/>
    <p:sldId id="11049" r:id="rId54"/>
    <p:sldId id="11144" r:id="rId55"/>
    <p:sldId id="409" r:id="rId56"/>
    <p:sldId id="11051" r:id="rId57"/>
    <p:sldId id="11053" r:id="rId58"/>
    <p:sldId id="1126" r:id="rId59"/>
    <p:sldId id="11137" r:id="rId60"/>
    <p:sldId id="11139" r:id="rId61"/>
    <p:sldId id="11141" r:id="rId62"/>
    <p:sldId id="11143" r:id="rId63"/>
    <p:sldId id="11145" r:id="rId64"/>
    <p:sldId id="269" r:id="rId65"/>
    <p:sldId id="2123" r:id="rId66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ady, Cindi" initials="KC" lastIdx="1" clrIdx="0">
    <p:extLst>
      <p:ext uri="{19B8F6BF-5375-455C-9EA6-DF929625EA0E}">
        <p15:presenceInfo xmlns:p15="http://schemas.microsoft.com/office/powerpoint/2012/main" userId="S-1-5-21-798254582-200106796-1537874043-125763" providerId="AD"/>
      </p:ext>
    </p:extLst>
  </p:cmAuthor>
  <p:cmAuthor id="2" name="Rhyne, Craig D" initials="RCD" lastIdx="1" clrIdx="1">
    <p:extLst>
      <p:ext uri="{19B8F6BF-5375-455C-9EA6-DF929625EA0E}">
        <p15:presenceInfo xmlns:p15="http://schemas.microsoft.com/office/powerpoint/2012/main" userId="S::crhyne@stjoe.org::71649abc-8083-4223-98b2-3cfdbe7666b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D01F29"/>
    <a:srgbClr val="E85C0E"/>
    <a:srgbClr val="F38D4D"/>
    <a:srgbClr val="000099"/>
    <a:srgbClr val="E936ED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6747" autoAdjust="0"/>
    <p:restoredTop sz="95394" autoAdjust="0"/>
  </p:normalViewPr>
  <p:slideViewPr>
    <p:cSldViewPr snapToGrid="0">
      <p:cViewPr varScale="1">
        <p:scale>
          <a:sx n="103" d="100"/>
          <a:sy n="103" d="100"/>
        </p:scale>
        <p:origin x="192" y="3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66" Type="http://schemas.openxmlformats.org/officeDocument/2006/relationships/slide" Target="slides/slide59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4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12-28T20:09:35.722" idx="1">
    <p:pos x="6787" y="650"/>
    <p:text/>
    <p:extLst>
      <p:ext uri="{C676402C-5697-4E1C-873F-D02D1690AC5C}">
        <p15:threadingInfo xmlns:p15="http://schemas.microsoft.com/office/powerpoint/2012/main" timeZoneBias="3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1/2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1F574542-6A91-4884-A673-198038223B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2E6E574E-4302-4E7A-B900-F5390E4ADC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2EF6941F-6A48-4F3E-935E-97884526B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0992A7-AFA6-4059-90D7-58A026B7843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64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8597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3833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9921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4620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48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id="{CAC1FEAA-6834-4322-BCFF-9062A510C0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id="{4AA118C7-3C10-4790-AAAD-A415FE1A44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Slide Number Placeholder 3">
            <a:extLst>
              <a:ext uri="{FF2B5EF4-FFF2-40B4-BE49-F238E27FC236}">
                <a16:creationId xmlns:a16="http://schemas.microsoft.com/office/drawing/2014/main" id="{4C238052-F157-4386-8760-EFED3AB157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900A14-864B-4B61-A6D8-E35507CEEA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92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123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804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3974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1561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568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6134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38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10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9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1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9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1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9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1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2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1.xml"/><Relationship Id="rId7" Type="http://schemas.openxmlformats.org/officeDocument/2006/relationships/image" Target="../media/image10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4.xml"/><Relationship Id="rId7" Type="http://schemas.openxmlformats.org/officeDocument/2006/relationships/image" Target="../media/image10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7.xml"/><Relationship Id="rId7" Type="http://schemas.openxmlformats.org/officeDocument/2006/relationships/image" Target="../media/image10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0.xml"/><Relationship Id="rId7" Type="http://schemas.openxmlformats.org/officeDocument/2006/relationships/image" Target="../media/image10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3.xml"/><Relationship Id="rId7" Type="http://schemas.openxmlformats.org/officeDocument/2006/relationships/image" Target="../media/image10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3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/>
              <a:t>1/29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748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6DFF08F-DC6B-4601-B491-B0F83F6DD2DA}" type="datetimeFigureOut">
              <a:rPr lang="en-US"/>
              <a:pPr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770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6657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Option 2: Title slide style, 28pt reg Aria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644" y="50625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254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5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9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5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9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4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344E4503-EA9E-46CD-87D4-D64B2274D7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9">
            <a:extLst>
              <a:ext uri="{FF2B5EF4-FFF2-40B4-BE49-F238E27FC236}">
                <a16:creationId xmlns:a16="http://schemas.microsoft.com/office/drawing/2014/main" id="{35298EA9-9B1E-486B-A0FD-B7077D544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4C280F44-AD7A-431C-8F64-016598F2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7B7EB7A-FE5B-490C-88BA-A2E1D5BD79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68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731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9482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1023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1676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0201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8942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682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8598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3855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979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072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80951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6132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479348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6584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1382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968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/>
              <a:t>1/29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tags" Target="../tags/tag11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4.emf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7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0" Type="http://schemas.openxmlformats.org/officeDocument/2006/relationships/tags" Target="../tags/tag2.xml"/><Relationship Id="rId41" Type="http://schemas.openxmlformats.org/officeDocument/2006/relationships/tags" Target="../tags/tag23.xml"/><Relationship Id="rId54" Type="http://schemas.openxmlformats.org/officeDocument/2006/relationships/image" Target="../media/image5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8" r:id="rId3"/>
    <p:sldLayoutId id="2147483842" r:id="rId4"/>
    <p:sldLayoutId id="2147483882" r:id="rId5"/>
    <p:sldLayoutId id="2147483900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901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CB1183-E0C4-44F0-AA23-901E86EBB0EA}" type="datetimeFigureOut">
              <a:rPr lang="en-US" smtClean="0"/>
              <a:t>1/29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090DAD68-DC3C-4126-9FD6-085CA82414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436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0gLmMPOHDwM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comments" Target="../comments/commen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3.png"/><Relationship Id="rId4" Type="http://schemas.openxmlformats.org/officeDocument/2006/relationships/image" Target="../media/image32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4A7B3CED-194C-4F99-A43B-B08D18EC85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239964" y="234950"/>
            <a:ext cx="7680325" cy="555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sz="4800" dirty="0">
                <a:latin typeface="Baskerville Old Face" panose="02020602080505020303" pitchFamily="18" charset="0"/>
              </a:rPr>
              <a:t>Covenant Health</a:t>
            </a:r>
            <a:br>
              <a:rPr lang="en-US" altLang="en-US" sz="4800" dirty="0">
                <a:latin typeface="Baskerville Old Face" panose="02020602080505020303" pitchFamily="18" charset="0"/>
              </a:rPr>
            </a:br>
            <a:r>
              <a:rPr lang="en-US" altLang="en-US" sz="4800" dirty="0">
                <a:latin typeface="Baskerville Old Face" panose="02020602080505020303" pitchFamily="18" charset="0"/>
              </a:rPr>
              <a:t>Presents</a:t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>Critical Communications: A Weekly Physician Update</a:t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br>
              <a:rPr lang="en-US" altLang="en-US" sz="3200" i="1" dirty="0">
                <a:latin typeface="Baskerville Old Face" panose="02020602080505020303" pitchFamily="18" charset="0"/>
              </a:rPr>
            </a:br>
            <a:r>
              <a:rPr lang="en-US" altLang="en-US" sz="2400" i="1" dirty="0">
                <a:latin typeface="Baskerville Old Face" panose="02020602080505020303" pitchFamily="18" charset="0"/>
              </a:rPr>
              <a:t>January 29, 2021</a:t>
            </a:r>
            <a:endParaRPr lang="en-US" altLang="en-US" sz="2400" dirty="0">
              <a:latin typeface="Baskerville Old Face" panose="02020602080505020303" pitchFamily="18" charset="0"/>
            </a:endParaRP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BB4ADF4D-3CF0-46FB-A827-93061F1CC31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31976" y="5791200"/>
            <a:ext cx="4714875" cy="966788"/>
          </a:xfrm>
        </p:spPr>
        <p:txBody>
          <a:bodyPr>
            <a:normAutofit/>
          </a:bodyPr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 dirty="0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 dirty="0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 dirty="0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dirty="0"/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dirty="0"/>
          </a:p>
        </p:txBody>
      </p:sp>
    </p:spTree>
    <p:extLst>
      <p:ext uri="{BB962C8B-B14F-4D97-AF65-F5344CB8AC3E}">
        <p14:creationId xmlns:p14="http://schemas.microsoft.com/office/powerpoint/2010/main" val="459217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F157B86-B98A-354E-A1FE-63503A87EB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st COVID-19 Syndromes are Emerging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94EB01A-E805-8646-B6AA-5F46A023429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157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54877D-FC68-2248-840B-6082DBBE6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0 Minu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050995-6419-0844-8276-E13107E1F8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u="sng" dirty="0">
                <a:hlinkClick r:id="rId2"/>
              </a:rPr>
              <a:t>https://youtu.be/0gLmMPOHDw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9822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A1D1B8-D3A0-2F47-843D-DE2F356D23D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olonged Care for Covid-19 “Long-Haulers"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122B7D5-49D6-1749-8A67-B1F411D913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/>
            <a:r>
              <a:rPr lang="en-US" dirty="0"/>
              <a:t>Kerry Hendershot, MD</a:t>
            </a:r>
          </a:p>
          <a:p>
            <a:pPr algn="l"/>
            <a:r>
              <a:rPr lang="en-US" dirty="0"/>
              <a:t>Covenant Medical Grou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C2D60F-9D7B-0444-B10C-C40B61502A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2140" y="2842807"/>
            <a:ext cx="3752335" cy="2352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4279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180E5E5-79A2-8B48-9022-3FC0B1770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habilitation Program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C44BB9D-7157-784D-AA0E-C5F550DE0A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634" y="1823711"/>
            <a:ext cx="5412260" cy="3949281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>
                <a:latin typeface="Cambria" panose="02040503050406030204" pitchFamily="18" charset="0"/>
              </a:rPr>
              <a:t>Pulmonary Rehabilitati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latin typeface="Cambria" panose="02040503050406030204" pitchFamily="18" charset="0"/>
              </a:rPr>
              <a:t>Cardiac Rehabilitati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latin typeface="Cambria" panose="02040503050406030204" pitchFamily="18" charset="0"/>
              </a:rPr>
              <a:t>Strength Rehabilitati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dirty="0">
                <a:latin typeface="Cambria" panose="02040503050406030204" pitchFamily="18" charset="0"/>
              </a:rPr>
              <a:t>Nutritional Support</a:t>
            </a:r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9A5CDF-3F2E-7D40-8980-DED919F6CC17}"/>
              </a:ext>
            </a:extLst>
          </p:cNvPr>
          <p:cNvSpPr txBox="1"/>
          <p:nvPr/>
        </p:nvSpPr>
        <p:spPr>
          <a:xfrm>
            <a:off x="8547669" y="2450255"/>
            <a:ext cx="355898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b="1" dirty="0"/>
              <a:t>Tommy Parrish</a:t>
            </a:r>
          </a:p>
          <a:p>
            <a:pPr algn="r"/>
            <a:r>
              <a:rPr lang="en-US" dirty="0"/>
              <a:t>Director of Lifestyle Center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1104E4-E44A-A548-B9DA-FF59E68672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711" y="1570455"/>
            <a:ext cx="1687727" cy="14184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8BABF30-481A-DA4A-97AC-704767EDB0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693" y="2482162"/>
            <a:ext cx="1951175" cy="122915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EF009BB-A734-5745-ACD9-EB08CC3C09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861" y="3291645"/>
            <a:ext cx="2190578" cy="16367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051A8B0-4E63-4B48-A7D8-1E9C251FB7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7992" y="4574429"/>
            <a:ext cx="2136174" cy="166636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8900229-13CB-E240-8B72-E547EC300B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859" y="152400"/>
            <a:ext cx="2402531" cy="216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653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ovid-19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7421201" y="2204873"/>
            <a:ext cx="10524744" cy="9747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1028623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/>
          </p:nvPr>
        </p:nvGraphicFramePr>
        <p:xfrm>
          <a:off x="6915150" y="757083"/>
          <a:ext cx="4568748" cy="15849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421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21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21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42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5991"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864, 2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965,5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kern="1200" dirty="0">
                          <a:solidFill>
                            <a:schemeClr val="dk1"/>
                          </a:solidFill>
                          <a:effectLst/>
                          <a:latin typeface=" Arial"/>
                          <a:ea typeface="+mn-ea"/>
                          <a:cs typeface="+mn-cs"/>
                        </a:rPr>
                        <a:t>2,003,135</a:t>
                      </a:r>
                      <a:endParaRPr lang="en-US" sz="1200" b="0" dirty="0">
                        <a:latin typeface=" Arial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2,0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,3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5,1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Hospitaliz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8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5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2,7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>
            <a:normAutofit/>
          </a:bodyPr>
          <a:lstStyle/>
          <a:p>
            <a:r>
              <a:rPr lang="en-US" sz="4400" dirty="0"/>
              <a:t>State of Texas Hospitalization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126555"/>
            <a:ext cx="12192000" cy="483468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6025" y="2594563"/>
            <a:ext cx="3248025" cy="163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1514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>
            <a:normAutofit/>
          </a:bodyPr>
          <a:lstStyle/>
          <a:p>
            <a:r>
              <a:rPr lang="en-US" sz="4400" dirty="0"/>
              <a:t>COUNTIE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93209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/>
        </p:nvSpPr>
        <p:spPr>
          <a:xfrm>
            <a:off x="0" y="950675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6" name="TextBox 15"/>
          <p:cNvSpPr txBox="1"/>
          <p:nvPr/>
        </p:nvSpPr>
        <p:spPr>
          <a:xfrm>
            <a:off x="2355943" y="2926807"/>
            <a:ext cx="30251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 Arial"/>
              </a:rPr>
              <a:t> 14.6% positivity rat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104347" y="1280421"/>
            <a:ext cx="28785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 Arial"/>
              </a:rPr>
              <a:t>1/11 110 new cas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419748" y="4440343"/>
            <a:ext cx="13837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 Arial"/>
              </a:rPr>
              <a:t>1/13 144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3713" y="4162967"/>
            <a:ext cx="9563100" cy="269503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355943" y="4546012"/>
            <a:ext cx="21355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14.5 % </a:t>
            </a:r>
          </a:p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Positivity Rat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1246" y="1057999"/>
            <a:ext cx="5906200" cy="30208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447" y="1040811"/>
            <a:ext cx="5847625" cy="303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1878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/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31722"/>
            <a:ext cx="12192000" cy="14538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343876" y="1143000"/>
            <a:ext cx="346669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ONFIRMED COVID+ HOSPITALIZATIONS /HOSPITAL CAPACITY </a:t>
            </a:r>
          </a:p>
          <a:p>
            <a:endParaRPr lang="en-US" sz="2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3875" y="3964601"/>
            <a:ext cx="34666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TSA – B </a:t>
            </a:r>
          </a:p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94 DAYS &gt; 15%</a:t>
            </a:r>
          </a:p>
        </p:txBody>
      </p:sp>
      <p:sp>
        <p:nvSpPr>
          <p:cNvPr id="7" name="4-Point Star 6"/>
          <p:cNvSpPr/>
          <p:nvPr/>
        </p:nvSpPr>
        <p:spPr>
          <a:xfrm>
            <a:off x="6773587" y="4231759"/>
            <a:ext cx="255181" cy="223283"/>
          </a:xfrm>
          <a:prstGeom prst="star4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4-Point Star 8"/>
          <p:cNvSpPr/>
          <p:nvPr/>
        </p:nvSpPr>
        <p:spPr>
          <a:xfrm>
            <a:off x="6773587" y="5277444"/>
            <a:ext cx="245196" cy="223283"/>
          </a:xfrm>
          <a:prstGeom prst="star4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4-Point Star 9"/>
          <p:cNvSpPr/>
          <p:nvPr/>
        </p:nvSpPr>
        <p:spPr>
          <a:xfrm>
            <a:off x="6742336" y="6323129"/>
            <a:ext cx="245196" cy="223283"/>
          </a:xfrm>
          <a:prstGeom prst="star4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3154" y="1100548"/>
            <a:ext cx="7311240" cy="56345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F17D369-F020-0848-B468-26B459C1C8EC}"/>
              </a:ext>
            </a:extLst>
          </p:cNvPr>
          <p:cNvSpPr txBox="1"/>
          <p:nvPr/>
        </p:nvSpPr>
        <p:spPr>
          <a:xfrm rot="20305655">
            <a:off x="885071" y="2901943"/>
            <a:ext cx="21394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solidFill>
                  <a:srgbClr val="FF0000"/>
                </a:solidFill>
              </a:rPr>
              <a:t>Last Week</a:t>
            </a:r>
          </a:p>
        </p:txBody>
      </p:sp>
    </p:spTree>
    <p:extLst>
      <p:ext uri="{BB962C8B-B14F-4D97-AF65-F5344CB8AC3E}">
        <p14:creationId xmlns:p14="http://schemas.microsoft.com/office/powerpoint/2010/main" val="31158417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/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132761"/>
            <a:ext cx="12192000" cy="13235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343876" y="1143000"/>
            <a:ext cx="346669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ONFIRMED COVID+ HOSPITALIZATIONS /HOSPITAL CAPACITY </a:t>
            </a:r>
          </a:p>
          <a:p>
            <a:endParaRPr lang="en-US" sz="2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1342" y="4677279"/>
            <a:ext cx="34666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SA – B 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100 DAYS &gt; 15%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1/26 1</a:t>
            </a:r>
            <a:r>
              <a:rPr lang="en-US" sz="2400" baseline="30000" dirty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day &lt;15%</a:t>
            </a:r>
          </a:p>
        </p:txBody>
      </p:sp>
      <p:sp>
        <p:nvSpPr>
          <p:cNvPr id="7" name="4-Point Star 6"/>
          <p:cNvSpPr/>
          <p:nvPr/>
        </p:nvSpPr>
        <p:spPr>
          <a:xfrm>
            <a:off x="6773587" y="4231759"/>
            <a:ext cx="255181" cy="223283"/>
          </a:xfrm>
          <a:prstGeom prst="star4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4-Point Star 8"/>
          <p:cNvSpPr/>
          <p:nvPr/>
        </p:nvSpPr>
        <p:spPr>
          <a:xfrm>
            <a:off x="6773587" y="5277444"/>
            <a:ext cx="245196" cy="223283"/>
          </a:xfrm>
          <a:prstGeom prst="star4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4-Point Star 9"/>
          <p:cNvSpPr/>
          <p:nvPr/>
        </p:nvSpPr>
        <p:spPr>
          <a:xfrm>
            <a:off x="6742336" y="6323129"/>
            <a:ext cx="245196" cy="223283"/>
          </a:xfrm>
          <a:prstGeom prst="star4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933" y="947565"/>
            <a:ext cx="7113324" cy="574146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28266D9-778E-5342-9A04-3DFBA688AA38}"/>
              </a:ext>
            </a:extLst>
          </p:cNvPr>
          <p:cNvSpPr txBox="1"/>
          <p:nvPr/>
        </p:nvSpPr>
        <p:spPr>
          <a:xfrm rot="20113561">
            <a:off x="858569" y="3282581"/>
            <a:ext cx="20409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</a:rPr>
              <a:t>THIS WEEK</a:t>
            </a:r>
          </a:p>
        </p:txBody>
      </p:sp>
    </p:spTree>
    <p:extLst>
      <p:ext uri="{BB962C8B-B14F-4D97-AF65-F5344CB8AC3E}">
        <p14:creationId xmlns:p14="http://schemas.microsoft.com/office/powerpoint/2010/main" val="39344028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5E5E3D-C014-6F4C-8790-B261CED1E8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26" y="0"/>
            <a:ext cx="10799304" cy="693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5659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">
            <a:extLst>
              <a:ext uri="{FF2B5EF4-FFF2-40B4-BE49-F238E27FC236}">
                <a16:creationId xmlns:a16="http://schemas.microsoft.com/office/drawing/2014/main" id="{CAFE82CE-49DE-428A-8690-4F441C029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8301" y="903289"/>
            <a:ext cx="6735763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rgbClr val="00338E"/>
                </a:solidFill>
                <a:latin typeface="Baskerville Old Face" panose="02020602080505020303" pitchFamily="18" charset="0"/>
              </a:rPr>
              <a:t>PHYSICIANS</a:t>
            </a:r>
            <a:endParaRPr lang="en-US" altLang="en-US" sz="2400" dirty="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solidFill>
                  <a:srgbClr val="00338E"/>
                </a:solidFill>
                <a:latin typeface="Baskerville Old Face" panose="02020602080505020303" pitchFamily="18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 dirty="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>
                <a:solidFill>
                  <a:srgbClr val="00338E"/>
                </a:solidFill>
                <a:latin typeface="Baskerville Old Face" panose="02020602080505020303" pitchFamily="18" charset="0"/>
              </a:rPr>
              <a:t>Accredit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is accredited by the Texas Medical Association (TMA) to provide continuing medical education for physicians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dirty="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>
                <a:solidFill>
                  <a:srgbClr val="00338E"/>
                </a:solidFill>
                <a:latin typeface="Baskerville Old Face" panose="02020602080505020303" pitchFamily="18" charset="0"/>
              </a:rPr>
              <a:t>Credit Design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designates this live CME activity for a maximum of 1.0 </a:t>
            </a:r>
            <a:r>
              <a:rPr lang="en-US" altLang="en-US" i="1" dirty="0">
                <a:solidFill>
                  <a:srgbClr val="00338E"/>
                </a:solidFill>
                <a:latin typeface="Baskerville Old Face" panose="02020602080505020303" pitchFamily="18" charset="0"/>
              </a:rPr>
              <a:t>AMA PRA Category 1 Credit(s)™.  </a:t>
            </a:r>
            <a:r>
              <a:rPr lang="en-US" altLang="en-US" dirty="0">
                <a:solidFill>
                  <a:srgbClr val="00338E"/>
                </a:solidFill>
                <a:latin typeface="Baskerville Old Face" panose="02020602080505020303" pitchFamily="18" charset="0"/>
              </a:rPr>
              <a:t>Physicians should claim only the credit commensurate with the extent of their participation in the activity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 dirty="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 dirty="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i="1" dirty="0">
              <a:solidFill>
                <a:srgbClr val="00338E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030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09DB741-EFDE-4345-80AA-50F1F7D220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9434"/>
            <a:ext cx="12192000" cy="625913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1891453-C55C-8749-8F57-C1A834790755}"/>
              </a:ext>
            </a:extLst>
          </p:cNvPr>
          <p:cNvSpPr txBox="1"/>
          <p:nvPr/>
        </p:nvSpPr>
        <p:spPr>
          <a:xfrm>
            <a:off x="9080289" y="3708502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13.49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F5DCA6-9499-604B-9DE6-6A1D16337752}"/>
              </a:ext>
            </a:extLst>
          </p:cNvPr>
          <p:cNvSpPr txBox="1"/>
          <p:nvPr/>
        </p:nvSpPr>
        <p:spPr>
          <a:xfrm>
            <a:off x="8336799" y="3655070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14.57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43C363-250A-DB4E-87EC-735BB7B42BA2}"/>
              </a:ext>
            </a:extLst>
          </p:cNvPr>
          <p:cNvSpPr txBox="1"/>
          <p:nvPr/>
        </p:nvSpPr>
        <p:spPr>
          <a:xfrm>
            <a:off x="7624482" y="3447250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15.02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AEC61C-24EB-0B4B-8C2E-E7E7AE663759}"/>
              </a:ext>
            </a:extLst>
          </p:cNvPr>
          <p:cNvSpPr txBox="1"/>
          <p:nvPr/>
        </p:nvSpPr>
        <p:spPr>
          <a:xfrm>
            <a:off x="6915703" y="3408218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15.65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8EF9DF-5A65-EF4E-A0CE-52F3D2E311F1}"/>
              </a:ext>
            </a:extLst>
          </p:cNvPr>
          <p:cNvSpPr txBox="1"/>
          <p:nvPr/>
        </p:nvSpPr>
        <p:spPr>
          <a:xfrm>
            <a:off x="6102729" y="3373434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16.25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43A5E9-1E56-A747-9770-84B97AFB3A5F}"/>
              </a:ext>
            </a:extLst>
          </p:cNvPr>
          <p:cNvSpPr txBox="1"/>
          <p:nvPr/>
        </p:nvSpPr>
        <p:spPr>
          <a:xfrm>
            <a:off x="5348230" y="3356135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16.77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BF7F2D-F203-2D42-92B1-D424883B6C72}"/>
              </a:ext>
            </a:extLst>
          </p:cNvPr>
          <p:cNvSpPr txBox="1"/>
          <p:nvPr/>
        </p:nvSpPr>
        <p:spPr>
          <a:xfrm>
            <a:off x="4593731" y="3302989"/>
            <a:ext cx="8002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17.05%</a:t>
            </a:r>
          </a:p>
        </p:txBody>
      </p:sp>
    </p:spTree>
    <p:extLst>
      <p:ext uri="{BB962C8B-B14F-4D97-AF65-F5344CB8AC3E}">
        <p14:creationId xmlns:p14="http://schemas.microsoft.com/office/powerpoint/2010/main" val="18376816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856881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bbock This Morn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752999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1997BB-4F1B-1043-923B-E8BA859B32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989" y="1123440"/>
            <a:ext cx="11500022" cy="461112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10878713" y="1042181"/>
            <a:ext cx="916052" cy="5000035"/>
          </a:xfrm>
          <a:prstGeom prst="rect">
            <a:avLst/>
          </a:prstGeom>
          <a:noFill/>
          <a:ln w="635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2358298" y="1042180"/>
            <a:ext cx="934838" cy="5000035"/>
          </a:xfrm>
          <a:prstGeom prst="rect">
            <a:avLst/>
          </a:prstGeom>
          <a:noFill/>
          <a:ln w="635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187304" y="1070424"/>
            <a:ext cx="822179" cy="5000035"/>
          </a:xfrm>
          <a:prstGeom prst="rect">
            <a:avLst/>
          </a:prstGeom>
          <a:noFill/>
          <a:ln w="63500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7039127" y="1074057"/>
            <a:ext cx="1109268" cy="5000035"/>
          </a:xfrm>
          <a:prstGeom prst="rect">
            <a:avLst/>
          </a:prstGeom>
          <a:noFill/>
          <a:ln w="63500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9878937" y="1052718"/>
            <a:ext cx="944897" cy="5000035"/>
          </a:xfrm>
          <a:prstGeom prst="rect">
            <a:avLst/>
          </a:prstGeom>
          <a:noFill/>
          <a:ln w="635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4653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CB6195-2037-8942-BA60-A0F8DA9896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rge Pla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98AB79C-4516-6449-BE95-3AF423E091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3501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838200"/>
          </a:xfrm>
        </p:spPr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578392"/>
              </p:ext>
            </p:extLst>
          </p:nvPr>
        </p:nvGraphicFramePr>
        <p:xfrm>
          <a:off x="2032000" y="737412"/>
          <a:ext cx="8128000" cy="530295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2279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10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</a:p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S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232995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E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S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803988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099516" y="3265539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35036" y="5446959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73129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Mont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47790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152399"/>
            <a:ext cx="9784080" cy="116696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 Units - CMC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879807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/7/2020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735" y="1657047"/>
            <a:ext cx="9553260" cy="45175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78EE7E0-8010-624E-8A26-82879C8E8921}"/>
              </a:ext>
            </a:extLst>
          </p:cNvPr>
          <p:cNvSpPr txBox="1"/>
          <p:nvPr/>
        </p:nvSpPr>
        <p:spPr>
          <a:xfrm rot="19160527">
            <a:off x="3041582" y="1002349"/>
            <a:ext cx="15392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</a:rPr>
              <a:t>UPDATE</a:t>
            </a:r>
          </a:p>
        </p:txBody>
      </p:sp>
    </p:spTree>
    <p:extLst>
      <p:ext uri="{BB962C8B-B14F-4D97-AF65-F5344CB8AC3E}">
        <p14:creationId xmlns:p14="http://schemas.microsoft.com/office/powerpoint/2010/main" val="24645826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giver  Up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7898888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56120" y="6458472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0" y="850901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57378" y="1007007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pic>
        <p:nvPicPr>
          <p:cNvPr id="23560" name="Picture 8" descr="Happy Smiley, Face PNG Transparent Background, Free Download #33077 -  FreeIcons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120" y="1557276"/>
            <a:ext cx="1265870" cy="1294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765" y="2987698"/>
            <a:ext cx="11481939" cy="3415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29842" y="130361"/>
            <a:ext cx="3560751" cy="2745827"/>
          </a:xfrm>
          <a:prstGeom prst="rect">
            <a:avLst/>
          </a:prstGeom>
        </p:spPr>
      </p:pic>
      <p:pic>
        <p:nvPicPr>
          <p:cNvPr id="16" name="Picture 8" descr="Happy Smiley, Face PNG Transparent Background, Free Download #33077 -  FreeIcons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7957" y="1557276"/>
            <a:ext cx="1265870" cy="1294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Happy Smiley, Face PNG Transparent Background, Free Download #33077 -  FreeIcons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4813276" y="1548628"/>
            <a:ext cx="1265870" cy="1294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50050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3600" b="1" dirty="0"/>
              <a:t>Cristian </a:t>
            </a:r>
            <a:r>
              <a:rPr lang="en-US" sz="3600" b="1" dirty="0" err="1"/>
              <a:t>Requenez</a:t>
            </a:r>
            <a:endParaRPr lang="en-US" sz="3600" b="1" dirty="0"/>
          </a:p>
          <a:p>
            <a:r>
              <a:rPr lang="en-US" sz="2400" dirty="0"/>
              <a:t>Clinical Data Analyst</a:t>
            </a:r>
          </a:p>
          <a:p>
            <a:r>
              <a:rPr lang="en-US" sz="2400" dirty="0"/>
              <a:t>Clinical Analytics</a:t>
            </a:r>
          </a:p>
          <a:p>
            <a:r>
              <a:rPr lang="en-US" sz="2400" dirty="0"/>
              <a:t>Covenant Health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8350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en-US" sz="4100"/>
              <a:t>Providence System </a:t>
            </a:r>
            <a:r>
              <a:rPr lang="en-US" sz="4100" u="sng"/>
              <a:t>Hospitalized</a:t>
            </a:r>
            <a:r>
              <a:rPr lang="en-US" sz="4100"/>
              <a:t> COVID-19 Cas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5F8D97-BD9A-4810-A0AB-6889B8113F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5037" y="989606"/>
            <a:ext cx="6801926" cy="4878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361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52552C-2928-4BCC-96FC-30C5E735B1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203" y="1417638"/>
            <a:ext cx="9983593" cy="3820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9380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>
            <a:extLst>
              <a:ext uri="{FF2B5EF4-FFF2-40B4-BE49-F238E27FC236}">
                <a16:creationId xmlns:a16="http://schemas.microsoft.com/office/drawing/2014/main" id="{54BDDF32-1FD0-4F8B-ACB7-85F983E6389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933700" y="384175"/>
            <a:ext cx="5989638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dirty="0">
                <a:latin typeface="Baskerville Old Face" panose="02020602080505020303" pitchFamily="18" charset="0"/>
              </a:rPr>
              <a:t>Disclosures of Commercial Interest</a:t>
            </a:r>
          </a:p>
        </p:txBody>
      </p:sp>
      <p:sp>
        <p:nvSpPr>
          <p:cNvPr id="15363" name="Rectangle 5">
            <a:extLst>
              <a:ext uri="{FF2B5EF4-FFF2-40B4-BE49-F238E27FC236}">
                <a16:creationId xmlns:a16="http://schemas.microsoft.com/office/drawing/2014/main" id="{B8D7D4E9-FB0C-4082-8170-B0E9D5C59B7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185989" y="2265364"/>
            <a:ext cx="7743825" cy="2452687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The speakers and planners of this activity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have no relevant financial interest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34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095DC9-8589-4CE0-87CB-C482F0D97F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914" y="1471339"/>
            <a:ext cx="10012172" cy="391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6263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700"/>
              <a:t>New COVID-19 POSITIVES by Day Trend</a:t>
            </a:r>
            <a:br>
              <a:rPr lang="en-US" sz="3700"/>
            </a:br>
            <a:endParaRPr lang="en-US" sz="37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7E094A-6717-4940-9E20-1A0E1EF928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1594" y="905691"/>
            <a:ext cx="7948811" cy="518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78118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700"/>
              <a:t> COVID-19 POSITIVES Age Distribution</a:t>
            </a:r>
            <a:br>
              <a:rPr lang="en-US" sz="3700"/>
            </a:br>
            <a:endParaRPr lang="en-US" sz="37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CD6901-56D1-421E-9AF2-23E9B0C50F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045" y="838903"/>
            <a:ext cx="10097909" cy="5180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8955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en-US"/>
              <a:t>TX/NM Region Weekly Procedures (YO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6A4EDFE-FA0D-4F2B-BE45-C0CF52C393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68" t="11649" r="16387" b="1233"/>
          <a:stretch/>
        </p:blipFill>
        <p:spPr>
          <a:xfrm>
            <a:off x="2464525" y="937367"/>
            <a:ext cx="6844938" cy="4983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614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9474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 Infusion Center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1243002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7917" y="1243002"/>
            <a:ext cx="7993117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u="sng" dirty="0">
                <a:latin typeface=" Arial"/>
              </a:rPr>
              <a:t>Status Update</a:t>
            </a:r>
          </a:p>
          <a:p>
            <a:endParaRPr lang="en-US" sz="4000" u="sng" dirty="0">
              <a:solidFill>
                <a:schemeClr val="bg1"/>
              </a:solidFill>
              <a:latin typeface=" Arial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 err="1">
                <a:solidFill>
                  <a:schemeClr val="bg1"/>
                </a:solidFill>
                <a:latin typeface=" Arial"/>
              </a:rPr>
              <a:t>Prakesh</a:t>
            </a:r>
            <a:r>
              <a:rPr lang="en-US" sz="3600" dirty="0">
                <a:solidFill>
                  <a:schemeClr val="bg1"/>
                </a:solidFill>
                <a:latin typeface=" Arial"/>
              </a:rPr>
              <a:t> Shrestha, M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  <a:latin typeface=" Arial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3600" dirty="0">
              <a:solidFill>
                <a:schemeClr val="bg1"/>
              </a:solidFill>
              <a:latin typeface=" Arial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 Arial"/>
              </a:rPr>
              <a:t>Dennis </a:t>
            </a:r>
            <a:r>
              <a:rPr lang="en-US" sz="3600" dirty="0" err="1">
                <a:solidFill>
                  <a:schemeClr val="bg1"/>
                </a:solidFill>
                <a:latin typeface=" Arial"/>
              </a:rPr>
              <a:t>Duriex</a:t>
            </a:r>
            <a:r>
              <a:rPr lang="en-US" sz="3600" dirty="0">
                <a:solidFill>
                  <a:schemeClr val="bg1"/>
                </a:solidFill>
                <a:latin typeface=" Arial"/>
              </a:rPr>
              <a:t>, MD</a:t>
            </a:r>
            <a:endParaRPr lang="en-US" sz="2800" dirty="0">
              <a:solidFill>
                <a:schemeClr val="bg1"/>
              </a:solidFill>
              <a:latin typeface=" 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  <a:latin typeface=" 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 Arial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8065844" y="2810555"/>
            <a:ext cx="4597206" cy="344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1336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1580" y="3917092"/>
            <a:ext cx="4206240" cy="1144458"/>
          </a:xfrm>
        </p:spPr>
        <p:txBody>
          <a:bodyPr/>
          <a:lstStyle/>
          <a:p>
            <a:r>
              <a:rPr lang="en-US" dirty="0"/>
              <a:t>Jason Loos, MD</a:t>
            </a:r>
          </a:p>
          <a:p>
            <a:r>
              <a:rPr lang="en-US" dirty="0" err="1"/>
              <a:t>Ameripath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89CDE8-A054-404E-A3D1-C004D21512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57" y="2725342"/>
            <a:ext cx="3765943" cy="2574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774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226C7E4-D09F-194C-81C3-5675E2435562}"/>
              </a:ext>
            </a:extLst>
          </p:cNvPr>
          <p:cNvSpPr/>
          <p:nvPr/>
        </p:nvSpPr>
        <p:spPr>
          <a:xfrm>
            <a:off x="0" y="0"/>
            <a:ext cx="12192000" cy="686307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41E919-EC6A-3542-8FE6-B2EF4F0289E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1" t="5303" r="5653" b="11819"/>
          <a:stretch/>
        </p:blipFill>
        <p:spPr>
          <a:xfrm>
            <a:off x="1278082" y="0"/>
            <a:ext cx="9736281" cy="6863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871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40594"/>
              </p:ext>
            </p:extLst>
          </p:nvPr>
        </p:nvGraphicFramePr>
        <p:xfrm>
          <a:off x="348148" y="1349785"/>
          <a:ext cx="5626523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6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53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35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36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60"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Test K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Swab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47711" y="4902432"/>
            <a:ext cx="108461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C- no issues</a:t>
            </a:r>
          </a:p>
          <a:p>
            <a:pPr algn="ctr"/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MG- no issues</a:t>
            </a:r>
          </a:p>
          <a:p>
            <a:pPr algn="ctr"/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G- no issues</a:t>
            </a:r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376431"/>
              </p:ext>
            </p:extLst>
          </p:nvPr>
        </p:nvGraphicFramePr>
        <p:xfrm>
          <a:off x="6290454" y="1314387"/>
          <a:ext cx="5403397" cy="28708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85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98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275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71877" y="3764077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25635" y="3705346"/>
            <a:ext cx="39417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00     &gt;750          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2000     &lt;750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600 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71877" y="4095901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71877" y="4427725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51316" y="3330985"/>
            <a:ext cx="6848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PC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31249" y="3345341"/>
            <a:ext cx="10390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Rapids</a:t>
            </a:r>
          </a:p>
        </p:txBody>
      </p:sp>
    </p:spTree>
    <p:extLst>
      <p:ext uri="{BB962C8B-B14F-4D97-AF65-F5344CB8AC3E}">
        <p14:creationId xmlns:p14="http://schemas.microsoft.com/office/powerpoint/2010/main" val="33983583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t"/>
          <a:lstStyle/>
          <a:p>
            <a:r>
              <a:rPr lang="en-US"/>
              <a:t>Pharmacy Update</a:t>
            </a:r>
            <a:br>
              <a:rPr lang="en-US"/>
            </a:b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28021" y="3440151"/>
            <a:ext cx="5758069" cy="1752600"/>
          </a:xfrm>
        </p:spPr>
        <p:txBody>
          <a:bodyPr anchor="t"/>
          <a:lstStyle/>
          <a:p>
            <a:r>
              <a:rPr lang="en-US" sz="2400">
                <a:ea typeface="+mn-lt"/>
                <a:cs typeface="+mn-lt"/>
              </a:rPr>
              <a:t>Wesley Wells, PharmD</a:t>
            </a:r>
          </a:p>
          <a:p>
            <a:r>
              <a:rPr lang="en-US" sz="2000">
                <a:ea typeface="+mn-lt"/>
                <a:cs typeface="+mn-lt"/>
              </a:rPr>
              <a:t>Regional Pharmacy Director </a:t>
            </a:r>
          </a:p>
          <a:p>
            <a:r>
              <a:rPr lang="en-US" sz="2000">
                <a:ea typeface="+mn-lt"/>
                <a:cs typeface="+mn-lt"/>
              </a:rPr>
              <a:t>Covenant Health</a:t>
            </a: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23708203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973CADA-0734-4E2C-8E26-F025ED35A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rapeutics Upda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7DEDCDD-24AE-4689-9472-30ACDE70EE19}"/>
              </a:ext>
            </a:extLst>
          </p:cNvPr>
          <p:cNvSpPr txBox="1"/>
          <p:nvPr/>
        </p:nvSpPr>
        <p:spPr>
          <a:xfrm>
            <a:off x="8728364" y="696368"/>
            <a:ext cx="34636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umbers are reported as of January 27 at 11:00 pm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VID Tent numbers are as of January 26 at 11:00 pm</a:t>
            </a:r>
          </a:p>
        </p:txBody>
      </p:sp>
      <p:graphicFrame>
        <p:nvGraphicFramePr>
          <p:cNvPr id="13" name="Table 11">
            <a:extLst>
              <a:ext uri="{FF2B5EF4-FFF2-40B4-BE49-F238E27FC236}">
                <a16:creationId xmlns:a16="http://schemas.microsoft.com/office/drawing/2014/main" id="{977D984D-8587-4759-AE8D-B5E1E783827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4383" y="1191476"/>
          <a:ext cx="11383235" cy="5415622"/>
        </p:xfrm>
        <a:graphic>
          <a:graphicData uri="http://schemas.openxmlformats.org/drawingml/2006/table">
            <a:tbl>
              <a:tblPr firstRow="1" bandRow="1"/>
              <a:tblGrid>
                <a:gridCol w="1956672">
                  <a:extLst>
                    <a:ext uri="{9D8B030D-6E8A-4147-A177-3AD203B41FA5}">
                      <a16:colId xmlns:a16="http://schemas.microsoft.com/office/drawing/2014/main" val="2215980099"/>
                    </a:ext>
                  </a:extLst>
                </a:gridCol>
                <a:gridCol w="2595576">
                  <a:extLst>
                    <a:ext uri="{9D8B030D-6E8A-4147-A177-3AD203B41FA5}">
                      <a16:colId xmlns:a16="http://schemas.microsoft.com/office/drawing/2014/main" val="1686246411"/>
                    </a:ext>
                  </a:extLst>
                </a:gridCol>
                <a:gridCol w="2595576">
                  <a:extLst>
                    <a:ext uri="{9D8B030D-6E8A-4147-A177-3AD203B41FA5}">
                      <a16:colId xmlns:a16="http://schemas.microsoft.com/office/drawing/2014/main" val="2493988437"/>
                    </a:ext>
                  </a:extLst>
                </a:gridCol>
                <a:gridCol w="4235411">
                  <a:extLst>
                    <a:ext uri="{9D8B030D-6E8A-4147-A177-3AD203B41FA5}">
                      <a16:colId xmlns:a16="http://schemas.microsoft.com/office/drawing/2014/main" val="967429319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Medication</a:t>
                      </a: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60000"/>
                        <a:lumOff val="4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ctr" rtl="0" eaLnBrk="1" latinLnBrk="0" hangingPunct="1"/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Current State</a:t>
                      </a: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60000"/>
                        <a:lumOff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Updates/Issues</a:t>
                      </a: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858105"/>
                  </a:ext>
                </a:extLst>
              </a:tr>
              <a:tr h="18332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2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Remdesivir</a:t>
                      </a: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1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algn="ctr" defTabSz="914400" rtl="0" eaLnBrk="1" latinLnBrk="0" hangingPunct="1"/>
                      <a:endParaRPr lang="en-US" sz="11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algn="ctr" defTabSz="914400" rtl="0" eaLnBrk="1" latinLnBrk="0" hangingPunct="1"/>
                      <a:endParaRPr lang="en-US" sz="11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algn="ctr" defTabSz="914400" rtl="0" eaLnBrk="1" latinLnBrk="0" hangingPunct="1"/>
                      <a:endParaRPr lang="en-US" sz="11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algn="ctr" defTabSz="914400" rtl="0" eaLnBrk="1" latinLnBrk="0" hangingPunct="1"/>
                      <a:endParaRPr lang="en-US" sz="11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algn="ctr" defTabSz="914400" rtl="0" eaLnBrk="1" latinLnBrk="0" hangingPunct="1"/>
                      <a:endParaRPr lang="en-US" sz="11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171450" indent="-1714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5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We have dispensed </a:t>
                      </a:r>
                      <a:r>
                        <a:rPr lang="en-US" sz="105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5</a:t>
                      </a:r>
                      <a:r>
                        <a:rPr lang="en-US" sz="105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vials to the COVID tent</a:t>
                      </a:r>
                    </a:p>
                    <a:p>
                      <a:pPr marL="628650" lvl="1" indent="-1714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5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We have treated 77 patients</a:t>
                      </a: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971497"/>
                  </a:ext>
                </a:extLst>
              </a:tr>
              <a:tr h="12935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200" b="1" kern="1200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Bamlanivimab</a:t>
                      </a:r>
                      <a:r>
                        <a:rPr lang="en-US" sz="12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 (Lilly)</a:t>
                      </a: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5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5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5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05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No updates</a:t>
                      </a:r>
                      <a:endParaRPr lang="en-US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0" indent="0" algn="l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059797"/>
                  </a:ext>
                </a:extLst>
              </a:tr>
              <a:tr h="10950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pt-BR" sz="12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Casirivimab and Imdevimab (Regeneron)</a:t>
                      </a:r>
                      <a:endParaRPr lang="en-US" sz="12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indent="-2857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N</a:t>
                      </a: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o updates</a:t>
                      </a:r>
                      <a:endParaRPr lang="en-US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796029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2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Zanubrutinib</a:t>
                      </a: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Patients enrolled: 6 </a:t>
                      </a:r>
                      <a:endParaRPr lang="en-US" sz="105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Active patients: 0</a:t>
                      </a: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indent="-2857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No updates</a:t>
                      </a:r>
                      <a:endParaRPr lang="en-US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831238"/>
                  </a:ext>
                </a:extLst>
              </a:tr>
              <a:tr h="2019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2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Regeneron 2066</a:t>
                      </a: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Patients enrolled: 3 (5 screened)</a:t>
                      </a: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Active patients: 0</a:t>
                      </a:r>
                      <a:endParaRPr lang="en-US" sz="105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No updates</a:t>
                      </a:r>
                      <a:endParaRPr lang="en-US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21739"/>
                  </a:ext>
                </a:extLst>
              </a:tr>
              <a:tr h="196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2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EXIT COVID-19 Trial</a:t>
                      </a:r>
                    </a:p>
                  </a:txBody>
                  <a:tcPr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Patients enrolled: 10 (11 screened)</a:t>
                      </a: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Active patients: 0</a:t>
                      </a:r>
                      <a:endParaRPr lang="en-US" sz="1050" b="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284163" marR="0" lvl="0" indent="-2841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ea typeface="+mn-ea"/>
                          <a:cs typeface="Calibri"/>
                        </a:rPr>
                        <a:t>No updates</a:t>
                      </a:r>
                      <a:endParaRPr lang="en-US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117435"/>
                  </a:ext>
                </a:extLst>
              </a:tr>
            </a:tbl>
          </a:graphicData>
        </a:graphic>
      </p:graphicFrame>
      <p:graphicFrame>
        <p:nvGraphicFramePr>
          <p:cNvPr id="14" name="Table 3">
            <a:extLst>
              <a:ext uri="{FF2B5EF4-FFF2-40B4-BE49-F238E27FC236}">
                <a16:creationId xmlns:a16="http://schemas.microsoft.com/office/drawing/2014/main" id="{20570250-9B67-4CE4-913F-6BE55D99DDE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57099" y="1634536"/>
          <a:ext cx="4972394" cy="1670304"/>
        </p:xfrm>
        <a:graphic>
          <a:graphicData uri="http://schemas.openxmlformats.org/drawingml/2006/table">
            <a:tbl>
              <a:tblPr firstRow="1" bandRow="1"/>
              <a:tblGrid>
                <a:gridCol w="1904765">
                  <a:extLst>
                    <a:ext uri="{9D8B030D-6E8A-4147-A177-3AD203B41FA5}">
                      <a16:colId xmlns:a16="http://schemas.microsoft.com/office/drawing/2014/main" val="2117385413"/>
                    </a:ext>
                  </a:extLst>
                </a:gridCol>
                <a:gridCol w="2296276">
                  <a:extLst>
                    <a:ext uri="{9D8B030D-6E8A-4147-A177-3AD203B41FA5}">
                      <a16:colId xmlns:a16="http://schemas.microsoft.com/office/drawing/2014/main" val="1429329193"/>
                    </a:ext>
                  </a:extLst>
                </a:gridCol>
                <a:gridCol w="771353">
                  <a:extLst>
                    <a:ext uri="{9D8B030D-6E8A-4147-A177-3AD203B41FA5}">
                      <a16:colId xmlns:a16="http://schemas.microsoft.com/office/drawing/2014/main" val="2328128836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Ministry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7-Day Average</a:t>
                      </a:r>
                    </a:p>
                  </a:txBody>
                  <a:tcPr marT="36576" marB="36576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ock</a:t>
                      </a:r>
                    </a:p>
                  </a:txBody>
                  <a:tcPr marT="36576" marB="36576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73949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Covenant Medical Center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29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100" b="1" kern="1200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366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37945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Children’s Hospital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0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36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27369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Plainview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6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100" b="1" kern="1200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59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15881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Levelland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46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8860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 Infusion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45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18779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GB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Hobbs</a:t>
                      </a:r>
                      <a:endParaRPr lang="en-US" sz="105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GB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 yesterday)</a:t>
                      </a:r>
                      <a:endParaRPr lang="en-US" sz="105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49</a:t>
                      </a:r>
                      <a:endParaRPr lang="en-US" sz="1100" b="1" dirty="0">
                        <a:solidFill>
                          <a:srgbClr val="00B05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317480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C76B91D4-AC4A-4192-84E8-5DF5D2B2283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40268" y="3460805"/>
          <a:ext cx="4972393" cy="1188720"/>
        </p:xfrm>
        <a:graphic>
          <a:graphicData uri="http://schemas.openxmlformats.org/drawingml/2006/table">
            <a:tbl>
              <a:tblPr firstRow="1" bandRow="1"/>
              <a:tblGrid>
                <a:gridCol w="1761482">
                  <a:extLst>
                    <a:ext uri="{9D8B030D-6E8A-4147-A177-3AD203B41FA5}">
                      <a16:colId xmlns:a16="http://schemas.microsoft.com/office/drawing/2014/main" val="1831604032"/>
                    </a:ext>
                  </a:extLst>
                </a:gridCol>
                <a:gridCol w="2451490">
                  <a:extLst>
                    <a:ext uri="{9D8B030D-6E8A-4147-A177-3AD203B41FA5}">
                      <a16:colId xmlns:a16="http://schemas.microsoft.com/office/drawing/2014/main" val="2941390616"/>
                    </a:ext>
                  </a:extLst>
                </a:gridCol>
                <a:gridCol w="759421">
                  <a:extLst>
                    <a:ext uri="{9D8B030D-6E8A-4147-A177-3AD203B41FA5}">
                      <a16:colId xmlns:a16="http://schemas.microsoft.com/office/drawing/2014/main" val="1118267883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Ministry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Total Doses Infused</a:t>
                      </a:r>
                    </a:p>
                  </a:txBody>
                  <a:tcPr marT="36576" marB="36576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ock</a:t>
                      </a:r>
                    </a:p>
                  </a:txBody>
                  <a:tcPr marT="36576" marB="36576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4035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CMC/Home Infusion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564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100" b="1" kern="1200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123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85012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Plainview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28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65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24175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Levelland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16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32</a:t>
                      </a: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28061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GB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Hobbs</a:t>
                      </a:r>
                      <a:endParaRPr lang="en-US" sz="105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GB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6</a:t>
                      </a:r>
                      <a:endParaRPr lang="en-US" sz="105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GB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83</a:t>
                      </a:r>
                      <a:endParaRPr lang="en-US" sz="1100" b="1" dirty="0">
                        <a:solidFill>
                          <a:srgbClr val="00B05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T="36576" marB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73652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D1AF44A-7623-4324-A1E9-80CEB9BDA78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45877" y="4743904"/>
          <a:ext cx="4961173" cy="984504"/>
        </p:xfrm>
        <a:graphic>
          <a:graphicData uri="http://schemas.openxmlformats.org/drawingml/2006/table">
            <a:tbl>
              <a:tblPr firstRow="1" bandRow="1"/>
              <a:tblGrid>
                <a:gridCol w="1761482">
                  <a:extLst>
                    <a:ext uri="{9D8B030D-6E8A-4147-A177-3AD203B41FA5}">
                      <a16:colId xmlns:a16="http://schemas.microsoft.com/office/drawing/2014/main" val="1831604032"/>
                    </a:ext>
                  </a:extLst>
                </a:gridCol>
                <a:gridCol w="2457100">
                  <a:extLst>
                    <a:ext uri="{9D8B030D-6E8A-4147-A177-3AD203B41FA5}">
                      <a16:colId xmlns:a16="http://schemas.microsoft.com/office/drawing/2014/main" val="2941390616"/>
                    </a:ext>
                  </a:extLst>
                </a:gridCol>
                <a:gridCol w="742591">
                  <a:extLst>
                    <a:ext uri="{9D8B030D-6E8A-4147-A177-3AD203B41FA5}">
                      <a16:colId xmlns:a16="http://schemas.microsoft.com/office/drawing/2014/main" val="1118267883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Ministry</a:t>
                      </a: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Total Doses Infused</a:t>
                      </a:r>
                    </a:p>
                  </a:txBody>
                  <a:tcPr marT="36576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Stock</a:t>
                      </a:r>
                    </a:p>
                  </a:txBody>
                  <a:tcPr marT="36576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9BDD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4035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CMC/Home Infusion</a:t>
                      </a: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137</a:t>
                      </a: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1100" b="1" kern="1200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131</a:t>
                      </a: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85012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Plainview</a:t>
                      </a: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0</a:t>
                      </a: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35</a:t>
                      </a: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24175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r>
                        <a:rPr lang="en-GB" sz="1050" b="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Hobbs</a:t>
                      </a:r>
                      <a:endParaRPr lang="en-US" sz="105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GB" sz="1050" b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Calibri"/>
                          <a:cs typeface="Calibri"/>
                        </a:rPr>
                        <a:t>0</a:t>
                      </a:r>
                      <a:endParaRPr lang="en-US" sz="105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rbel" panose="020B0503020204020204"/>
                        </a:defRPr>
                      </a:lvl9pPr>
                    </a:lstStyle>
                    <a:p>
                      <a:pPr algn="ctr"/>
                      <a:r>
                        <a:rPr lang="en-GB" sz="11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37</a:t>
                      </a:r>
                      <a:endParaRPr lang="en-US" sz="1100" b="1" dirty="0">
                        <a:solidFill>
                          <a:srgbClr val="00B05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marT="36576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056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9000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id="{9D71B441-4AE7-4B71-B9EF-B632FB3CBEC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276601" y="292101"/>
            <a:ext cx="52609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dirty="0">
                <a:latin typeface="Baskerville Old Face" panose="02020602080505020303" pitchFamily="18" charset="0"/>
              </a:rPr>
              <a:t>Disclosures</a:t>
            </a:r>
          </a:p>
        </p:txBody>
      </p:sp>
      <p:sp>
        <p:nvSpPr>
          <p:cNvPr id="14339" name="Rectangle 5">
            <a:extLst>
              <a:ext uri="{FF2B5EF4-FFF2-40B4-BE49-F238E27FC236}">
                <a16:creationId xmlns:a16="http://schemas.microsoft.com/office/drawing/2014/main" id="{85B51B83-4FDF-440A-AAF9-8ED1A5A41A6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78063" y="1697038"/>
            <a:ext cx="7427912" cy="39878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This activity is provided by 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Covenant Health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commercial support has been receiv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products will be endors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Speakers will notify the audience if off label drug use will be discussed.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65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9C34D-A475-4420-B1C5-5EC1262D8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ccine Upd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258A3A-4855-48C9-B2D8-EBCE445C6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005" y="1241427"/>
            <a:ext cx="10117873" cy="550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4210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Upda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457200" defTabSz="457200"/>
            <a:r>
              <a:rPr lang="en-US" sz="2800" dirty="0">
                <a:solidFill>
                  <a:srgbClr val="002060"/>
                </a:solidFill>
                <a:cs typeface="Arial"/>
              </a:rPr>
              <a:t>Week 6 Allocation</a:t>
            </a:r>
          </a:p>
          <a:p>
            <a:pPr marL="57150" indent="0" defTabSz="457200">
              <a:buNone/>
            </a:pPr>
            <a:endParaRPr lang="en-US" sz="2800" dirty="0">
              <a:solidFill>
                <a:srgbClr val="002060"/>
              </a:solidFill>
              <a:cs typeface="Arial"/>
            </a:endParaRPr>
          </a:p>
          <a:p>
            <a:pPr marL="57150" indent="0" defTabSz="457200">
              <a:buNone/>
            </a:pPr>
            <a:endParaRPr lang="en-US" sz="3600" dirty="0">
              <a:solidFill>
                <a:srgbClr val="002060"/>
              </a:solidFill>
              <a:cs typeface="Arial"/>
            </a:endParaRPr>
          </a:p>
          <a:p>
            <a:pPr marL="57150" indent="0" defTabSz="457200">
              <a:buNone/>
            </a:pPr>
            <a:endParaRPr lang="en-US" sz="2800" dirty="0">
              <a:solidFill>
                <a:srgbClr val="002060"/>
              </a:solidFill>
              <a:cs typeface="Arial"/>
            </a:endParaRPr>
          </a:p>
          <a:p>
            <a:pPr marL="514350" indent="-457200" defTabSz="457200"/>
            <a:r>
              <a:rPr lang="en-US" sz="2800" dirty="0">
                <a:solidFill>
                  <a:srgbClr val="002060"/>
                </a:solidFill>
                <a:cs typeface="Arial"/>
              </a:rPr>
              <a:t>Week 7 Allocation</a:t>
            </a:r>
          </a:p>
          <a:p>
            <a:pPr marL="914400" lvl="1" indent="-457200" defTabSz="457200"/>
            <a:r>
              <a:rPr lang="en-GB" sz="2400" dirty="0">
                <a:solidFill>
                  <a:srgbClr val="002060"/>
                </a:solidFill>
                <a:cs typeface="Arial"/>
              </a:rPr>
              <a:t>Prioritized hub sites, hospitals, local health departments, and dialysis </a:t>
            </a:r>
            <a:r>
              <a:rPr lang="en-GB" sz="2400" dirty="0" err="1">
                <a:solidFill>
                  <a:srgbClr val="002060"/>
                </a:solidFill>
                <a:cs typeface="Arial"/>
              </a:rPr>
              <a:t>centers</a:t>
            </a:r>
            <a:endParaRPr lang="en-GB" sz="2400" dirty="0">
              <a:solidFill>
                <a:srgbClr val="002060"/>
              </a:solidFill>
              <a:cs typeface="Arial"/>
            </a:endParaRPr>
          </a:p>
          <a:p>
            <a:pPr marL="914400" lvl="1" indent="-457200" defTabSz="457200"/>
            <a:r>
              <a:rPr lang="en-GB" sz="2400" dirty="0">
                <a:solidFill>
                  <a:srgbClr val="002060"/>
                </a:solidFill>
                <a:cs typeface="Arial"/>
              </a:rPr>
              <a:t>Prioritized counties which haven’t received previous allocations</a:t>
            </a:r>
          </a:p>
          <a:p>
            <a:pPr marL="914400" lvl="1" indent="-457200" defTabSz="457200"/>
            <a:r>
              <a:rPr lang="en-GB" sz="2400" dirty="0">
                <a:solidFill>
                  <a:srgbClr val="002060"/>
                </a:solidFill>
                <a:cs typeface="Arial"/>
              </a:rPr>
              <a:t>167,100 </a:t>
            </a:r>
            <a:r>
              <a:rPr lang="en-GB" sz="2400" dirty="0" err="1">
                <a:solidFill>
                  <a:srgbClr val="002060"/>
                </a:solidFill>
                <a:cs typeface="Arial"/>
              </a:rPr>
              <a:t>Moderna</a:t>
            </a:r>
            <a:r>
              <a:rPr lang="en-GB" sz="2400" dirty="0">
                <a:solidFill>
                  <a:srgbClr val="002060"/>
                </a:solidFill>
                <a:cs typeface="Arial"/>
              </a:rPr>
              <a:t> doses to allocate and 165,750 Pfizer doses to allocate</a:t>
            </a:r>
          </a:p>
          <a:p>
            <a:pPr marL="514350" indent="-457200" defTabSz="457200"/>
            <a:endParaRPr lang="en-US" sz="2800" dirty="0">
              <a:solidFill>
                <a:srgbClr val="002060"/>
              </a:solidFill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3053AC-F752-437E-988D-CE2F6EB2AE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036" y="1802457"/>
            <a:ext cx="10832364" cy="151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5103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8C835-D0D1-49B5-B321-B7750F131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A839B1-C501-4186-8A99-DD678D1A5A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solidFill>
                  <a:srgbClr val="002060"/>
                </a:solidFill>
              </a:rPr>
              <a:t>Overall caregiver reception: 50%</a:t>
            </a:r>
          </a:p>
          <a:p>
            <a:pPr lvl="1"/>
            <a:r>
              <a:rPr lang="en-GB" sz="2400" dirty="0">
                <a:solidFill>
                  <a:srgbClr val="002060"/>
                </a:solidFill>
              </a:rPr>
              <a:t>Rough estimates from Caregiver Health</a:t>
            </a:r>
          </a:p>
          <a:p>
            <a:r>
              <a:rPr lang="en-GB" sz="2800" dirty="0">
                <a:solidFill>
                  <a:srgbClr val="002060"/>
                </a:solidFill>
              </a:rPr>
              <a:t>CDC Updates</a:t>
            </a:r>
          </a:p>
          <a:p>
            <a:pPr lvl="1"/>
            <a:r>
              <a:rPr lang="en-GB" sz="2400" dirty="0">
                <a:solidFill>
                  <a:srgbClr val="002060"/>
                </a:solidFill>
              </a:rPr>
              <a:t>The second dose of Pfizer-</a:t>
            </a:r>
            <a:r>
              <a:rPr lang="en-GB" sz="2400" dirty="0" err="1">
                <a:solidFill>
                  <a:srgbClr val="002060"/>
                </a:solidFill>
              </a:rPr>
              <a:t>BioNTech</a:t>
            </a:r>
            <a:r>
              <a:rPr lang="en-GB" sz="2400" dirty="0">
                <a:solidFill>
                  <a:srgbClr val="002060"/>
                </a:solidFill>
              </a:rPr>
              <a:t> and </a:t>
            </a:r>
            <a:r>
              <a:rPr lang="en-GB" sz="2400" dirty="0" err="1">
                <a:solidFill>
                  <a:srgbClr val="002060"/>
                </a:solidFill>
              </a:rPr>
              <a:t>Moderna</a:t>
            </a:r>
            <a:r>
              <a:rPr lang="en-GB" sz="2400" dirty="0">
                <a:solidFill>
                  <a:srgbClr val="002060"/>
                </a:solidFill>
              </a:rPr>
              <a:t> COVID-19 vaccines may be scheduled for administration </a:t>
            </a:r>
            <a:r>
              <a:rPr lang="en-GB" sz="2400" u="sng" dirty="0">
                <a:solidFill>
                  <a:srgbClr val="002060"/>
                </a:solidFill>
              </a:rPr>
              <a:t>up to 6 weeks (42 days) </a:t>
            </a:r>
            <a:r>
              <a:rPr lang="en-GB" sz="2400" dirty="0">
                <a:solidFill>
                  <a:srgbClr val="002060"/>
                </a:solidFill>
              </a:rPr>
              <a:t>after the first dose.	</a:t>
            </a:r>
          </a:p>
          <a:p>
            <a:pPr lvl="1"/>
            <a:r>
              <a:rPr lang="en-GB" sz="2400" dirty="0">
                <a:solidFill>
                  <a:srgbClr val="002060"/>
                </a:solidFill>
              </a:rPr>
              <a:t>In exceptional situations in which the first-dose vaccine product cannot be determined or is no longer available, </a:t>
            </a:r>
            <a:r>
              <a:rPr lang="en-GB" sz="2400" u="sng" dirty="0">
                <a:solidFill>
                  <a:srgbClr val="002060"/>
                </a:solidFill>
              </a:rPr>
              <a:t>any available mRNA COVID-19 vaccine</a:t>
            </a:r>
            <a:r>
              <a:rPr lang="en-GB" sz="2400" dirty="0">
                <a:solidFill>
                  <a:srgbClr val="002060"/>
                </a:solidFill>
              </a:rPr>
              <a:t> may be administered at a </a:t>
            </a:r>
            <a:r>
              <a:rPr lang="en-GB" sz="2400" u="sng" dirty="0">
                <a:solidFill>
                  <a:srgbClr val="002060"/>
                </a:solidFill>
              </a:rPr>
              <a:t>minimum interval of 28 days between doses </a:t>
            </a:r>
            <a:endParaRPr lang="en-GB" sz="2400" dirty="0">
              <a:solidFill>
                <a:srgbClr val="002060"/>
              </a:solidFill>
            </a:endParaRPr>
          </a:p>
          <a:p>
            <a:endParaRPr lang="en-GB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4793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35D6B2-C21E-467A-A656-53C641B08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Allocation Request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8351ED17-C070-48BA-BA84-CE7798C8C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401" y="1163144"/>
            <a:ext cx="9149198" cy="4923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881791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85950-E785-435D-8846-68975C015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Week 7 Allocation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84AD780-EF00-4D33-AA99-CC729F1B77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4533"/>
          <a:stretch/>
        </p:blipFill>
        <p:spPr>
          <a:xfrm>
            <a:off x="647609" y="1632472"/>
            <a:ext cx="10736745" cy="1310443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54F170B-0E6C-496D-854F-E52853FE1DAC}"/>
              </a:ext>
            </a:extLst>
          </p:cNvPr>
          <p:cNvGrpSpPr/>
          <p:nvPr/>
        </p:nvGrpSpPr>
        <p:grpSpPr>
          <a:xfrm>
            <a:off x="518951" y="3341122"/>
            <a:ext cx="11154098" cy="1392670"/>
            <a:chOff x="647609" y="3815048"/>
            <a:chExt cx="11154098" cy="139267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656B1D9-E89B-415A-926F-1B0F3E974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7609" y="4138332"/>
              <a:ext cx="11154098" cy="21860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B3D0421-F453-4330-9C9D-F2DAA1C04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7609" y="4356937"/>
              <a:ext cx="11154098" cy="85078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AA99F2A-AAA4-42D8-8302-8094EB00AD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" t="15510" r="445" b="2173"/>
            <a:stretch/>
          </p:blipFill>
          <p:spPr>
            <a:xfrm>
              <a:off x="647610" y="3815048"/>
              <a:ext cx="11154097" cy="3223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508284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38CFF-62D0-4B6F-98A4-ADA79369D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anssen COVID-19 Vacc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F38727-3294-4856-A97B-99186B230C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6865" y="1214652"/>
            <a:ext cx="8258270" cy="468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865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1513" y="2880766"/>
            <a:ext cx="10021352" cy="1870729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tate Managed Covid-19 Hospital in Lubbock</a:t>
            </a:r>
            <a:b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endParaRPr lang="en-US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270217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A28EEE-521C-7542-A2E4-23F25A648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exas Department of Emergency Man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AB6E9F-C44C-AB4C-8B04-EC56227566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Looking for facilities in Texas to increase inpatient capacity</a:t>
            </a:r>
          </a:p>
          <a:p>
            <a:r>
              <a:rPr lang="en-US" dirty="0"/>
              <a:t>Inquired about our recently vacated hospital facility at 50</a:t>
            </a:r>
            <a:r>
              <a:rPr lang="en-US" baseline="30000" dirty="0"/>
              <a:t>th</a:t>
            </a:r>
            <a:r>
              <a:rPr lang="en-US" dirty="0"/>
              <a:t> Street and University</a:t>
            </a:r>
          </a:p>
          <a:p>
            <a:r>
              <a:rPr lang="en-US" dirty="0"/>
              <a:t>Conducted a site visit of the facility with Covenant/Grace personnel and City officials along with representatives from the third party (ASHBRITT) who will administer/operate/bill for care provided there.</a:t>
            </a:r>
          </a:p>
          <a:p>
            <a:r>
              <a:rPr lang="en-US" dirty="0"/>
              <a:t>The decision has been reached that the are going to </a:t>
            </a:r>
            <a:r>
              <a:rPr lang="en-US" u="sng" dirty="0"/>
              <a:t>lease</a:t>
            </a:r>
            <a:r>
              <a:rPr lang="en-US" dirty="0"/>
              <a:t> the facility from Covenant and begin operations in the next two weeks.</a:t>
            </a:r>
          </a:p>
          <a:p>
            <a:r>
              <a:rPr lang="en-US"/>
              <a:t>COVID </a:t>
            </a:r>
            <a:r>
              <a:rPr lang="en-US" dirty="0"/>
              <a:t>hospitalizations in that facility SHOULD NOT COUNT in our RAC total (that would artificially inflate our percentages)</a:t>
            </a:r>
          </a:p>
        </p:txBody>
      </p:sp>
    </p:spTree>
    <p:extLst>
      <p:ext uri="{BB962C8B-B14F-4D97-AF65-F5344CB8AC3E}">
        <p14:creationId xmlns:p14="http://schemas.microsoft.com/office/powerpoint/2010/main" val="40743777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A267-9F91-3945-995E-3B41BED1E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eria for Admission to Alternate Care Sit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7089F55-4840-5846-883D-4413775A4E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151" y="1032368"/>
            <a:ext cx="7697579" cy="5825632"/>
          </a:xfrm>
        </p:spPr>
      </p:pic>
    </p:spTree>
    <p:extLst>
      <p:ext uri="{BB962C8B-B14F-4D97-AF65-F5344CB8AC3E}">
        <p14:creationId xmlns:p14="http://schemas.microsoft.com/office/powerpoint/2010/main" val="21151131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5B17B0-30D9-464D-8F8B-1BF43D01D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20" y="761924"/>
            <a:ext cx="2381971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 dirty="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 dirty="0">
                <a:latin typeface="Baskerville Old Face" panose="02020602080505020303" pitchFamily="18" charset="0"/>
              </a:rPr>
              <a:t>only</a:t>
            </a:r>
            <a:r>
              <a:rPr lang="en-US" altLang="en-US" sz="3600" dirty="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 dirty="0">
                <a:latin typeface="Baskerville Old Face" panose="02020602080505020303" pitchFamily="18" charset="0"/>
              </a:rPr>
              <a:t>Live</a:t>
            </a:r>
            <a:r>
              <a:rPr lang="en-US" altLang="en-US" sz="3600" dirty="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Wednesday following the call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35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3C0D78F-8B6E-2B4A-A5F1-2379F93E2A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9319"/>
            <a:ext cx="12192000" cy="6259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26383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2C8AF57-FDFB-834A-9AD3-4DE02883E0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759"/>
            <a:ext cx="12192000" cy="6298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87079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502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NEW MEXICO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143000"/>
            <a:ext cx="12192000" cy="1123122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5218" r="3493"/>
          <a:stretch/>
        </p:blipFill>
        <p:spPr>
          <a:xfrm>
            <a:off x="161925" y="890094"/>
            <a:ext cx="8006030" cy="5589888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7895" y="250632"/>
            <a:ext cx="2762250" cy="6229350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0605783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Summary">
            <a:extLst>
              <a:ext uri="{FF2B5EF4-FFF2-40B4-BE49-F238E27FC236}">
                <a16:creationId xmlns:a16="http://schemas.microsoft.com/office/drawing/2014/main" id="{C9666388-51BF-4D59-8A0A-2B89C9A21C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64637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Vaccine Doses Allocated">
            <a:extLst>
              <a:ext uri="{FF2B5EF4-FFF2-40B4-BE49-F238E27FC236}">
                <a16:creationId xmlns:a16="http://schemas.microsoft.com/office/drawing/2014/main" id="{AFC87292-C341-451C-A7B9-A5D7781C8E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80873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Vaccine Doses Administered">
            <a:extLst>
              <a:ext uri="{FF2B5EF4-FFF2-40B4-BE49-F238E27FC236}">
                <a16:creationId xmlns:a16="http://schemas.microsoft.com/office/drawing/2014/main" id="{823A8CBC-1DF5-4FF1-A6C3-65120EC9E1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78126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People Vaccinated">
            <a:extLst>
              <a:ext uri="{FF2B5EF4-FFF2-40B4-BE49-F238E27FC236}">
                <a16:creationId xmlns:a16="http://schemas.microsoft.com/office/drawing/2014/main" id="{73908AFA-9C9F-45D5-9F6C-0F4BE2363E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31436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867A61-7072-554A-B0C2-3B6E80443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665"/>
            <a:ext cx="12192000" cy="6458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0545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>
                <a:solidFill>
                  <a:schemeClr val="tx1"/>
                </a:solidFill>
                <a:latin typeface="Baskerville Old Face"/>
              </a:rPr>
              <a:t>You will receive an email by the following Wednesday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32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006D4B-CB77-7D45-8D02-CFE703B48E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190500" stA="60000" endA="900" endPos="58000" dist="76200" dir="5400000" sy="-100000" algn="bl" rotWithShape="0"/>
                </a:effectLst>
              </a:rPr>
              <a:t>Reflection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8EF72FC-5B2A-0640-ADD9-85EE4B4620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746090"/>
            <a:ext cx="8534400" cy="1359310"/>
          </a:xfrm>
        </p:spPr>
        <p:txBody>
          <a:bodyPr/>
          <a:lstStyle/>
          <a:p>
            <a:r>
              <a:rPr lang="en-US" b="1" dirty="0"/>
              <a:t>Prakash Shrestha, MD</a:t>
            </a:r>
          </a:p>
          <a:p>
            <a:r>
              <a:rPr lang="en-US" sz="2400" i="1" dirty="0"/>
              <a:t>Regional Medical Director </a:t>
            </a:r>
            <a:endParaRPr lang="en-US" sz="2400" dirty="0"/>
          </a:p>
          <a:p>
            <a:r>
              <a:rPr lang="en-US" sz="2400" i="1" dirty="0"/>
              <a:t>Infection Prevention and Antimicrobial Stewardship Program</a:t>
            </a:r>
          </a:p>
          <a:p>
            <a:r>
              <a:rPr lang="en-US" sz="2400" i="1" dirty="0"/>
              <a:t>Covenant Health</a:t>
            </a:r>
            <a:endParaRPr lang="en-US" sz="2400" dirty="0"/>
          </a:p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421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>
            <a:alpha val="1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4886" y="577516"/>
            <a:ext cx="8616779" cy="1058779"/>
          </a:xfrm>
        </p:spPr>
        <p:txBody>
          <a:bodyPr>
            <a:normAutofit/>
          </a:bodyPr>
          <a:lstStyle/>
          <a:p>
            <a:r>
              <a:rPr lang="en-US" b="1" i="1" dirty="0">
                <a:solidFill>
                  <a:srgbClr val="C00000"/>
                </a:solidFill>
              </a:rPr>
              <a:t>I’ll take care of yo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1636295"/>
            <a:ext cx="7933038" cy="1848309"/>
          </a:xfrm>
        </p:spPr>
        <p:txBody>
          <a:bodyPr>
            <a:normAutofit/>
          </a:bodyPr>
          <a:lstStyle/>
          <a:p>
            <a:endParaRPr lang="en-US" dirty="0"/>
          </a:p>
          <a:p>
            <a:pPr>
              <a:lnSpc>
                <a:spcPct val="100000"/>
              </a:lnSpc>
            </a:pPr>
            <a:r>
              <a:rPr lang="en-US" b="1" i="1" dirty="0">
                <a:solidFill>
                  <a:srgbClr val="C00000"/>
                </a:solidFill>
              </a:rPr>
              <a:t>		</a:t>
            </a:r>
            <a:r>
              <a:rPr lang="en-US" sz="2800" b="1" i="1" dirty="0">
                <a:solidFill>
                  <a:srgbClr val="C00000"/>
                </a:solidFill>
              </a:rPr>
              <a:t>by Prakash Shrestha</a:t>
            </a:r>
          </a:p>
        </p:txBody>
      </p:sp>
    </p:spTree>
    <p:extLst>
      <p:ext uri="{BB962C8B-B14F-4D97-AF65-F5344CB8AC3E}">
        <p14:creationId xmlns:p14="http://schemas.microsoft.com/office/powerpoint/2010/main" val="14838127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>
            <a:alpha val="1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2189"/>
            <a:ext cx="10515600" cy="489285"/>
          </a:xfrm>
        </p:spPr>
        <p:txBody>
          <a:bodyPr anchor="t">
            <a:normAutofit fontScale="90000"/>
          </a:bodyPr>
          <a:lstStyle/>
          <a:p>
            <a:r>
              <a:rPr lang="en-US" sz="2800" b="1" i="1" dirty="0">
                <a:solidFill>
                  <a:srgbClr val="C00000"/>
                </a:solidFill>
              </a:rPr>
              <a:t>									</a:t>
            </a:r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04976" y="617622"/>
            <a:ext cx="9648824" cy="5807241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endParaRPr lang="en-US" sz="1600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Here I’ve Come again to see if you’ve recover;</a:t>
            </a: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Has fever gone away, do you feel better ?</a:t>
            </a:r>
          </a:p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Days are so gloomy and endless seems these nights;</a:t>
            </a: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Together you and me, one day we’ll win this fight.</a:t>
            </a:r>
          </a:p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Down on my knees I’ll pray for you every morning;</a:t>
            </a: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One breath at a time, let the candle of hope Keep burning.</a:t>
            </a:r>
          </a:p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You do your part, let me take care of mine;</a:t>
            </a: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Dark clouds will fizzle, Sun will surely shine.</a:t>
            </a:r>
          </a:p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Let’s think of tomorrow when no agony will remain;</a:t>
            </a: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This misery will be gone and there isn’t any pain</a:t>
            </a:r>
          </a:p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What will you do when you’ve been all through ?</a:t>
            </a: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When you are stronger and you’ll be all new.</a:t>
            </a:r>
          </a:p>
        </p:txBody>
      </p:sp>
    </p:spTree>
    <p:extLst>
      <p:ext uri="{BB962C8B-B14F-4D97-AF65-F5344CB8AC3E}">
        <p14:creationId xmlns:p14="http://schemas.microsoft.com/office/powerpoint/2010/main" val="32456069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>
            <a:alpha val="1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2189"/>
            <a:ext cx="10515600" cy="665747"/>
          </a:xfrm>
        </p:spPr>
        <p:txBody>
          <a:bodyPr anchor="t">
            <a:normAutofit/>
          </a:bodyPr>
          <a:lstStyle/>
          <a:p>
            <a:r>
              <a:rPr lang="en-US" sz="2800" b="1" i="1" dirty="0">
                <a:solidFill>
                  <a:srgbClr val="C00000"/>
                </a:solidFill>
              </a:rPr>
              <a:t>											</a:t>
            </a: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2576" y="419100"/>
            <a:ext cx="9801224" cy="6262437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Will you once again race with your grandson?</a:t>
            </a: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Let him defeat you and watch the joy of little one.</a:t>
            </a:r>
          </a:p>
          <a:p>
            <a:pPr marL="0" indent="0">
              <a:buNone/>
            </a:pPr>
            <a:endParaRPr lang="en-US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Sitting by the fireside will you pet your dog ?</a:t>
            </a: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And early every morning take him for a jog.</a:t>
            </a:r>
          </a:p>
          <a:p>
            <a:pPr marL="0" indent="0">
              <a:buNone/>
            </a:pPr>
            <a:endParaRPr lang="en-US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Will you feed those birds while your cat stares at you ?</a:t>
            </a: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Waiting for the treat that has long been due.</a:t>
            </a:r>
          </a:p>
          <a:p>
            <a:pPr marL="0" indent="0">
              <a:buNone/>
            </a:pPr>
            <a:endParaRPr lang="en-US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Will you once again take your wife for long drive?</a:t>
            </a: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Reminiscing those memories of your beautiful life.</a:t>
            </a:r>
          </a:p>
          <a:p>
            <a:pPr marL="0" indent="0">
              <a:buNone/>
            </a:pPr>
            <a:endParaRPr lang="en-US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Hang in their my friend, let this storm pass through;</a:t>
            </a: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Together you and I, we’ll make all those dream come true.</a:t>
            </a:r>
          </a:p>
          <a:p>
            <a:pPr marL="0" indent="0">
              <a:buNone/>
            </a:pPr>
            <a:endParaRPr lang="en-US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Battle will be won, that is certainly true;</a:t>
            </a:r>
          </a:p>
          <a:p>
            <a:pPr marL="0" indent="0">
              <a:buNone/>
            </a:pPr>
            <a:r>
              <a:rPr lang="en-US" b="1" i="1" dirty="0">
                <a:solidFill>
                  <a:srgbClr val="C00000"/>
                </a:solidFill>
              </a:rPr>
              <a:t>You trust on me, I’ll take care of you.</a:t>
            </a:r>
          </a:p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en-US" sz="1600" b="1" i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</a:rPr>
              <a:t>--------------------------------</a:t>
            </a:r>
            <a:r>
              <a:rPr lang="en-US" sz="1600" b="1" i="1" dirty="0" err="1">
                <a:solidFill>
                  <a:srgbClr val="C00000"/>
                </a:solidFill>
              </a:rPr>
              <a:t>xxxxxxxx</a:t>
            </a:r>
            <a:r>
              <a:rPr lang="en-US" sz="1600" b="1" i="1" dirty="0">
                <a:solidFill>
                  <a:srgbClr val="C00000"/>
                </a:solidFill>
              </a:rPr>
              <a:t>--------------------------------</a:t>
            </a:r>
          </a:p>
        </p:txBody>
      </p:sp>
    </p:spTree>
    <p:extLst>
      <p:ext uri="{BB962C8B-B14F-4D97-AF65-F5344CB8AC3E}">
        <p14:creationId xmlns:p14="http://schemas.microsoft.com/office/powerpoint/2010/main" val="1247515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Facet">
  <a:themeElements>
    <a:clrScheme name="Red">
      <a:dk1>
        <a:sysClr val="windowText" lastClr="000000"/>
      </a:dk1>
      <a:lt1>
        <a:sysClr val="window" lastClr="FFFFFF"/>
      </a:lt1>
      <a:dk2>
        <a:srgbClr val="323232"/>
      </a:dk2>
      <a:lt2>
        <a:srgbClr val="E5C243"/>
      </a:lt2>
      <a:accent1>
        <a:srgbClr val="A5300F"/>
      </a:accent1>
      <a:accent2>
        <a:srgbClr val="D55816"/>
      </a:accent2>
      <a:accent3>
        <a:srgbClr val="E19825"/>
      </a:accent3>
      <a:accent4>
        <a:srgbClr val="B19C7D"/>
      </a:accent4>
      <a:accent5>
        <a:srgbClr val="7F5F52"/>
      </a:accent5>
      <a:accent6>
        <a:srgbClr val="B27D49"/>
      </a:accent6>
      <a:hlink>
        <a:srgbClr val="6B9F25"/>
      </a:hlink>
      <a:folHlink>
        <a:srgbClr val="B26B02"/>
      </a:folHlink>
    </a:clrScheme>
    <a:fontScheme name="Cambria">
      <a:majorFont>
        <a:latin typeface="Cambria" panose="02040503050406030204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mbria" panose="02040503050406030204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33690</TotalTime>
  <Words>1557</Words>
  <Application>Microsoft Macintosh PowerPoint</Application>
  <PresentationFormat>Widescreen</PresentationFormat>
  <Paragraphs>418</Paragraphs>
  <Slides>59</Slides>
  <Notes>14</Notes>
  <HiddenSlides>1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79" baseType="lpstr">
      <vt:lpstr> Arial</vt:lpstr>
      <vt:lpstr>Arial</vt:lpstr>
      <vt:lpstr>Arial Narrow</vt:lpstr>
      <vt:lpstr>Baskerville Old Face</vt:lpstr>
      <vt:lpstr>Calibri</vt:lpstr>
      <vt:lpstr>Cambria</vt:lpstr>
      <vt:lpstr>Corbel</vt:lpstr>
      <vt:lpstr>Georgia</vt:lpstr>
      <vt:lpstr>Helvetica Neue Medium</vt:lpstr>
      <vt:lpstr>Segoe UI</vt:lpstr>
      <vt:lpstr>Wingdings</vt:lpstr>
      <vt:lpstr>Wingdings 3</vt:lpstr>
      <vt:lpstr>Covenant Health</vt:lpstr>
      <vt:lpstr>Custom Design</vt:lpstr>
      <vt:lpstr>1_Covenant Health</vt:lpstr>
      <vt:lpstr>3349UU_CF</vt:lpstr>
      <vt:lpstr>2_Covenant Health</vt:lpstr>
      <vt:lpstr>1_Custom Design</vt:lpstr>
      <vt:lpstr>Facet</vt:lpstr>
      <vt:lpstr>think-cell Slide</vt:lpstr>
      <vt:lpstr>Covenant Health Presents    Critical Communications: A Weekly Physician Update  January 29, 2021</vt:lpstr>
      <vt:lpstr>PowerPoint Presentation</vt:lpstr>
      <vt:lpstr>Disclosures of Commercial Interest</vt:lpstr>
      <vt:lpstr>Disclosures</vt:lpstr>
      <vt:lpstr>CME Credit was only approved for the Live Teams meeting</vt:lpstr>
      <vt:lpstr>Reflection</vt:lpstr>
      <vt:lpstr>I’ll take care of you</vt:lpstr>
      <vt:lpstr>         </vt:lpstr>
      <vt:lpstr>           </vt:lpstr>
      <vt:lpstr>Post COVID-19 Syndromes are Emerging</vt:lpstr>
      <vt:lpstr>60 Minutes</vt:lpstr>
      <vt:lpstr>Prolonged Care for Covid-19 “Long-Haulers"</vt:lpstr>
      <vt:lpstr>Rehabilitation Programs</vt:lpstr>
      <vt:lpstr>Current Regional Covid-19 Census</vt:lpstr>
      <vt:lpstr>State of Texas Hospitalizations</vt:lpstr>
      <vt:lpstr>COUNTIES</vt:lpstr>
      <vt:lpstr>COVID+ HOSPITALIZATIONS BY TSA ID</vt:lpstr>
      <vt:lpstr>COVID+ HOSPITALIZATIONS BY TSA ID</vt:lpstr>
      <vt:lpstr>PowerPoint Presentation</vt:lpstr>
      <vt:lpstr>PowerPoint Presentation</vt:lpstr>
      <vt:lpstr>Lubbock This Morning</vt:lpstr>
      <vt:lpstr>Surge Plans</vt:lpstr>
      <vt:lpstr>Surge Plan</vt:lpstr>
      <vt:lpstr>COVID Units - CMC</vt:lpstr>
      <vt:lpstr>Caregiver  Update</vt:lpstr>
      <vt:lpstr>PowerPoint Presentation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POSITIVES Age Distribution </vt:lpstr>
      <vt:lpstr>TX/NM Region Weekly Procedures (YOY)</vt:lpstr>
      <vt:lpstr>COVID Infusion Center</vt:lpstr>
      <vt:lpstr>Covid-19 Testing</vt:lpstr>
      <vt:lpstr>PowerPoint Presentation</vt:lpstr>
      <vt:lpstr>TESTING</vt:lpstr>
      <vt:lpstr>Pharmacy Update </vt:lpstr>
      <vt:lpstr>Therapeutics Update</vt:lpstr>
      <vt:lpstr>Vaccine Update</vt:lpstr>
      <vt:lpstr>Vaccine Update</vt:lpstr>
      <vt:lpstr>Vaccine Update</vt:lpstr>
      <vt:lpstr>Vaccine Allocation Request</vt:lpstr>
      <vt:lpstr>Vaccine Week 7 Allocation </vt:lpstr>
      <vt:lpstr>Janssen COVID-19 Vaccine</vt:lpstr>
      <vt:lpstr>State Managed Covid-19 Hospital in Lubbock </vt:lpstr>
      <vt:lpstr>The Texas Department of Emergency Management</vt:lpstr>
      <vt:lpstr>Criteria for Admission to Alternate Care Site</vt:lpstr>
      <vt:lpstr>Texas Demographics</vt:lpstr>
      <vt:lpstr>PowerPoint Presentation</vt:lpstr>
      <vt:lpstr>PowerPoint Presentation</vt:lpstr>
      <vt:lpstr>NEW MEXIC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 &amp; A</vt:lpstr>
      <vt:lpstr>CME Credit was only approved for the Live Teams meeting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Rhyne, Craig D</cp:lastModifiedBy>
  <cp:revision>895</cp:revision>
  <cp:lastPrinted>2021-01-28T21:14:02Z</cp:lastPrinted>
  <dcterms:created xsi:type="dcterms:W3CDTF">2020-04-06T15:45:06Z</dcterms:created>
  <dcterms:modified xsi:type="dcterms:W3CDTF">2021-01-29T16:55:36Z</dcterms:modified>
</cp:coreProperties>
</file>